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1"/>
  </p:notesMasterIdLst>
  <p:handoutMasterIdLst>
    <p:handoutMasterId r:id="rId22"/>
  </p:handoutMasterIdLst>
  <p:sldIdLst>
    <p:sldId id="494" r:id="rId2"/>
    <p:sldId id="523" r:id="rId3"/>
    <p:sldId id="525" r:id="rId4"/>
    <p:sldId id="526" r:id="rId5"/>
    <p:sldId id="527" r:id="rId6"/>
    <p:sldId id="528" r:id="rId7"/>
    <p:sldId id="511" r:id="rId8"/>
    <p:sldId id="524" r:id="rId9"/>
    <p:sldId id="513" r:id="rId10"/>
    <p:sldId id="514" r:id="rId11"/>
    <p:sldId id="515" r:id="rId12"/>
    <p:sldId id="516" r:id="rId13"/>
    <p:sldId id="518" r:id="rId14"/>
    <p:sldId id="517" r:id="rId15"/>
    <p:sldId id="519" r:id="rId16"/>
    <p:sldId id="520" r:id="rId17"/>
    <p:sldId id="521" r:id="rId18"/>
    <p:sldId id="522" r:id="rId19"/>
    <p:sldId id="52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744" autoAdjust="0"/>
  </p:normalViewPr>
  <p:slideViewPr>
    <p:cSldViewPr snapToGrid="0" showGuides="1">
      <p:cViewPr varScale="1">
        <p:scale>
          <a:sx n="81" d="100"/>
          <a:sy n="81" d="100"/>
        </p:scale>
        <p:origin x="892" y="60"/>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3-07</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3-07</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us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71A6A9-0EC5-4D1F-8684-F62A7E13C7BA}"/>
              </a:ext>
            </a:extLst>
          </p:cNvPr>
          <p:cNvSpPr>
            <a:spLocks noGrp="1"/>
          </p:cNvSpPr>
          <p:nvPr>
            <p:ph type="sldNum" sz="quarter" idx="12"/>
          </p:nvPr>
        </p:nvSpPr>
        <p:spPr/>
        <p:txBody>
          <a:bodyPr/>
          <a:lstStyle/>
          <a:p>
            <a:fld id="{00E6A5BD-C011-4A45-AA3A-201790FB7F2B}" type="slidenum">
              <a:rPr lang="en-CA" smtClean="0"/>
              <a:t>8</a:t>
            </a:fld>
            <a:endParaRPr lang="en-CA"/>
          </a:p>
        </p:txBody>
      </p:sp>
    </p:spTree>
    <p:extLst>
      <p:ext uri="{BB962C8B-B14F-4D97-AF65-F5344CB8AC3E}">
        <p14:creationId xmlns:p14="http://schemas.microsoft.com/office/powerpoint/2010/main" val="2758730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16 male to female jumper cables (different colors if possible).</a:t>
            </a:r>
          </a:p>
          <a:p>
            <a:r>
              <a:rPr lang="en-US" sz="2400" dirty="0"/>
              <a:t>16 male to male jumper cables (different colors if possible).</a:t>
            </a:r>
          </a:p>
          <a:p>
            <a:r>
              <a:rPr lang="en-US" sz="2400"/>
              <a:t>Four </a:t>
            </a:r>
            <a:r>
              <a:rPr lang="en-US" sz="2400" dirty="0"/>
              <a:t>pieces of electrical tape (1 x ~3 inches, 3 x 1 inch)</a:t>
            </a:r>
          </a:p>
          <a:p>
            <a:r>
              <a:rPr lang="en-US" sz="2400" dirty="0"/>
              <a:t>Four AA Batteries</a:t>
            </a:r>
          </a:p>
          <a:p>
            <a:r>
              <a:rPr lang="en-US" sz="2400" dirty="0"/>
              <a:t>10 µf electrolytic capacitor</a:t>
            </a:r>
          </a:p>
          <a:p>
            <a:r>
              <a:rPr lang="en-US" sz="2400" dirty="0"/>
              <a:t>1x NRF24L01+ Transceiver</a:t>
            </a:r>
          </a:p>
          <a:p>
            <a:r>
              <a:rPr lang="en-US" sz="2400" dirty="0"/>
              <a:t>4 tactical buttons</a:t>
            </a:r>
          </a:p>
          <a:p>
            <a:r>
              <a:rPr lang="en-US" sz="2400" dirty="0"/>
              <a:t>Ziploc bag with Arduino, Breadboard, Battery Holder, 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319</TotalTime>
  <Words>529</Words>
  <Application>Microsoft Office PowerPoint</Application>
  <PresentationFormat>Widescreen</PresentationFormat>
  <Paragraphs>77</Paragraphs>
  <Slides>19</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dmin</cp:lastModifiedBy>
  <cp:revision>287</cp:revision>
  <dcterms:created xsi:type="dcterms:W3CDTF">2016-09-14T12:26:50Z</dcterms:created>
  <dcterms:modified xsi:type="dcterms:W3CDTF">2018-03-07T21:11:10Z</dcterms:modified>
</cp:coreProperties>
</file>